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1"/>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F02A270-14DE-4DD7-8204-2E997B22E91F}">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9B9898"/>
    <a:srgbClr val="575555"/>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6/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6/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0.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2.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4.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6.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2.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4.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6.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8.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2.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4.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8.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20141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11198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635769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83326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54896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29418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66749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78903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82532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79423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19175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2068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6958426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73567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68663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6/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85566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6</TotalTime>
  <Words>944</Words>
  <Application>Microsoft Office PowerPoint</Application>
  <PresentationFormat>On-screen Show (16:9)</PresentationFormat>
  <Paragraphs>128</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0</cp:revision>
  <dcterms:created xsi:type="dcterms:W3CDTF">2024-07-05T07:54:38Z</dcterms:created>
  <dcterms:modified xsi:type="dcterms:W3CDTF">2025-08-26T13:4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